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1"/>
    <p:sldMasterId id="2147484292" r:id="rId2"/>
    <p:sldMasterId id="2147484537" r:id="rId3"/>
    <p:sldMasterId id="2147484319" r:id="rId4"/>
    <p:sldMasterId id="2147484353" r:id="rId5"/>
    <p:sldMasterId id="2147484393" r:id="rId6"/>
    <p:sldMasterId id="2147484437" r:id="rId7"/>
  </p:sldMasterIdLst>
  <p:sldIdLst>
    <p:sldId id="258" r:id="rId8"/>
    <p:sldId id="259" r:id="rId9"/>
    <p:sldId id="257" r:id="rId10"/>
    <p:sldId id="260" r:id="rId11"/>
  </p:sldIdLst>
  <p:sldSz cx="9144000" cy="5143500" type="screen16x9"/>
  <p:notesSz cx="6858000" cy="9144000"/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58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C9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6" d="100"/>
          <a:sy n="116" d="100"/>
        </p:scale>
        <p:origin x="518" y="77"/>
      </p:cViewPr>
      <p:guideLst>
        <p:guide orient="horz" pos="758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tableStyles" Target="tableStyles.xml"/><Relationship Id="rId10" Type="http://schemas.openxmlformats.org/officeDocument/2006/relationships/slide" Target="slides/slide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wmf"/><Relationship Id="rId2" Type="http://schemas.openxmlformats.org/officeDocument/2006/relationships/tags" Target="../tags/tag14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microsoft.com/office/2007/relationships/hdphoto" Target="../media/hdphoto1.wdp"/><Relationship Id="rId5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w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w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wmf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w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7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57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78072"/>
            <a:ext cx="9144000" cy="1665428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2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577368" y="2429278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351925"/>
            <a:ext cx="5024960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53593" y="2351925"/>
            <a:ext cx="3154741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5838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колла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61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8" name="Полилиния 37"/>
          <p:cNvSpPr/>
          <p:nvPr/>
        </p:nvSpPr>
        <p:spPr bwMode="auto">
          <a:xfrm>
            <a:off x="4844394" y="-1929"/>
            <a:ext cx="4305387" cy="5153178"/>
          </a:xfrm>
          <a:custGeom>
            <a:avLst/>
            <a:gdLst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367383 w 4360542"/>
              <a:gd name="connsiteY6" fmla="*/ 5143500 h 5143500"/>
              <a:gd name="connsiteX7" fmla="*/ 0 w 4360542"/>
              <a:gd name="connsiteY7" fmla="*/ 5143500 h 5143500"/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150407 w 4360542"/>
              <a:gd name="connsiteY6" fmla="*/ 5143500 h 5143500"/>
              <a:gd name="connsiteX7" fmla="*/ 0 w 4360542"/>
              <a:gd name="connsiteY7" fmla="*/ 5143500 h 5143500"/>
              <a:gd name="connsiteX8" fmla="*/ 0 w 4360542"/>
              <a:gd name="connsiteY8" fmla="*/ 0 h 5143500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896442 w 4360542"/>
              <a:gd name="connsiteY5" fmla="*/ 3131796 h 5151249"/>
              <a:gd name="connsiteX6" fmla="*/ 150407 w 4360542"/>
              <a:gd name="connsiteY6" fmla="*/ 5151249 h 5151249"/>
              <a:gd name="connsiteX7" fmla="*/ 0 w 4360542"/>
              <a:gd name="connsiteY7" fmla="*/ 5143500 h 5151249"/>
              <a:gd name="connsiteX8" fmla="*/ 0 w 4360542"/>
              <a:gd name="connsiteY8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0766 w 4360542"/>
              <a:gd name="connsiteY2" fmla="*/ 2527146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423327 w 4360542"/>
              <a:gd name="connsiteY1" fmla="*/ 1929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1929 h 5153178"/>
              <a:gd name="connsiteX1" fmla="*/ 427185 w 4360542"/>
              <a:gd name="connsiteY1" fmla="*/ 0 h 5153178"/>
              <a:gd name="connsiteX2" fmla="*/ 2333206 w 4360542"/>
              <a:gd name="connsiteY2" fmla="*/ 2482777 h 5153178"/>
              <a:gd name="connsiteX3" fmla="*/ 4305387 w 4360542"/>
              <a:gd name="connsiteY3" fmla="*/ 150844 h 5153178"/>
              <a:gd name="connsiteX4" fmla="*/ 4360542 w 4360542"/>
              <a:gd name="connsiteY4" fmla="*/ 197124 h 5153178"/>
              <a:gd name="connsiteX5" fmla="*/ 150407 w 4360542"/>
              <a:gd name="connsiteY5" fmla="*/ 5153178 h 5153178"/>
              <a:gd name="connsiteX6" fmla="*/ 0 w 4360542"/>
              <a:gd name="connsiteY6" fmla="*/ 5145429 h 5153178"/>
              <a:gd name="connsiteX7" fmla="*/ 0 w 4360542"/>
              <a:gd name="connsiteY7" fmla="*/ 1929 h 5153178"/>
              <a:gd name="connsiteX0" fmla="*/ 0 w 4305387"/>
              <a:gd name="connsiteY0" fmla="*/ 1929 h 5153178"/>
              <a:gd name="connsiteX1" fmla="*/ 427185 w 4305387"/>
              <a:gd name="connsiteY1" fmla="*/ 0 h 5153178"/>
              <a:gd name="connsiteX2" fmla="*/ 2333206 w 4305387"/>
              <a:gd name="connsiteY2" fmla="*/ 2482777 h 5153178"/>
              <a:gd name="connsiteX3" fmla="*/ 4305387 w 4305387"/>
              <a:gd name="connsiteY3" fmla="*/ 150844 h 5153178"/>
              <a:gd name="connsiteX4" fmla="*/ 4302669 w 4305387"/>
              <a:gd name="connsiteY4" fmla="*/ 272359 h 5153178"/>
              <a:gd name="connsiteX5" fmla="*/ 150407 w 4305387"/>
              <a:gd name="connsiteY5" fmla="*/ 5153178 h 5153178"/>
              <a:gd name="connsiteX6" fmla="*/ 0 w 4305387"/>
              <a:gd name="connsiteY6" fmla="*/ 5145429 h 5153178"/>
              <a:gd name="connsiteX7" fmla="*/ 0 w 4305387"/>
              <a:gd name="connsiteY7" fmla="*/ 1929 h 5153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5387" h="5153178">
                <a:moveTo>
                  <a:pt x="0" y="1929"/>
                </a:moveTo>
                <a:lnTo>
                  <a:pt x="427185" y="0"/>
                </a:lnTo>
                <a:lnTo>
                  <a:pt x="2333206" y="2482777"/>
                </a:lnTo>
                <a:lnTo>
                  <a:pt x="4305387" y="150844"/>
                </a:lnTo>
                <a:lnTo>
                  <a:pt x="4302669" y="272359"/>
                </a:lnTo>
                <a:lnTo>
                  <a:pt x="150407" y="5153178"/>
                </a:lnTo>
                <a:lnTo>
                  <a:pt x="0" y="5145429"/>
                </a:lnTo>
                <a:lnTo>
                  <a:pt x="0" y="1929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5003145" y="170985"/>
            <a:ext cx="4137788" cy="4972515"/>
          </a:xfrm>
          <a:custGeom>
            <a:avLst/>
            <a:gdLst>
              <a:gd name="connsiteX0" fmla="*/ 0 w 4126526"/>
              <a:gd name="connsiteY0" fmla="*/ 0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0 w 4126526"/>
              <a:gd name="connsiteY4" fmla="*/ 0 h 4838700"/>
              <a:gd name="connsiteX0" fmla="*/ 4108938 w 4126526"/>
              <a:gd name="connsiteY0" fmla="*/ 5862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4108938 w 4126526"/>
              <a:gd name="connsiteY4" fmla="*/ 5862 h 4838700"/>
              <a:gd name="connsiteX0" fmla="*/ 4108938 w 4136800"/>
              <a:gd name="connsiteY0" fmla="*/ 40794 h 4873632"/>
              <a:gd name="connsiteX1" fmla="*/ 4136800 w 4136800"/>
              <a:gd name="connsiteY1" fmla="*/ 0 h 4873632"/>
              <a:gd name="connsiteX2" fmla="*/ 4126526 w 4136800"/>
              <a:gd name="connsiteY2" fmla="*/ 4873632 h 4873632"/>
              <a:gd name="connsiteX3" fmla="*/ 0 w 4136800"/>
              <a:gd name="connsiteY3" fmla="*/ 4873632 h 4873632"/>
              <a:gd name="connsiteX4" fmla="*/ 4108938 w 4136800"/>
              <a:gd name="connsiteY4" fmla="*/ 40794 h 4873632"/>
              <a:gd name="connsiteX0" fmla="*/ 4108938 w 4137788"/>
              <a:gd name="connsiteY0" fmla="*/ 40794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4" fmla="*/ 4108938 w 4137788"/>
              <a:gd name="connsiteY4" fmla="*/ 40794 h 48736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37788" h="4873632">
                <a:moveTo>
                  <a:pt x="4108938" y="40794"/>
                </a:moveTo>
                <a:lnTo>
                  <a:pt x="4136800" y="0"/>
                </a:lnTo>
                <a:cubicBezTo>
                  <a:pt x="4133375" y="1624544"/>
                  <a:pt x="4140225" y="3249088"/>
                  <a:pt x="4136800" y="4873632"/>
                </a:cubicBezTo>
                <a:lnTo>
                  <a:pt x="0" y="4873632"/>
                </a:lnTo>
                <a:lnTo>
                  <a:pt x="4108938" y="40794"/>
                </a:lnTo>
                <a:close/>
              </a:path>
            </a:pathLst>
          </a:cu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anchor="b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21" hasCustomPrompt="1"/>
          </p:nvPr>
        </p:nvSpPr>
        <p:spPr>
          <a:xfrm>
            <a:off x="5430371" y="0"/>
            <a:ext cx="3735147" cy="2239922"/>
          </a:xfrm>
          <a:prstGeom prst="flowChartMerge">
            <a:avLst/>
          </a:prstGeo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85" y="357166"/>
            <a:ext cx="876123" cy="165600"/>
          </a:xfrm>
          <a:prstGeom prst="rect">
            <a:avLst/>
          </a:prstGeom>
        </p:spPr>
      </p:pic>
      <p:sp>
        <p:nvSpPr>
          <p:cNvPr id="14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25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26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29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3862231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u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26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49" y="2291184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6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бирюзовый фон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67631"/>
            <a:ext cx="3691499" cy="3983742"/>
          </a:xfrm>
          <a:prstGeom prst="rect">
            <a:avLst/>
          </a:prstGeom>
        </p:spPr>
      </p:pic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97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bg1"/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9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2031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438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9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1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9859878"/>
              </p:ext>
            </p:extLst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4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0" y="1477755"/>
            <a:ext cx="8606460" cy="63435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9956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6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55601" y="1729716"/>
            <a:ext cx="8607046" cy="1021556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9706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389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31317" y="1630913"/>
            <a:ext cx="195660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20707" y="1630913"/>
            <a:ext cx="266901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12282" y="1302635"/>
            <a:ext cx="2951754" cy="217646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52763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55588" y="998538"/>
            <a:ext cx="8650287" cy="359568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9191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6" idx="3"/>
          </p:cNvCxnSpPr>
          <p:nvPr/>
        </p:nvCxnSpPr>
        <p:spPr bwMode="auto">
          <a:xfrm flipH="1" flipV="1">
            <a:off x="5104601" y="4659166"/>
            <a:ext cx="4039404" cy="3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2" y="4659165"/>
            <a:ext cx="384016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181869" y="3"/>
            <a:ext cx="2781533" cy="51434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6" name="TextBox 35"/>
          <p:cNvSpPr txBox="1"/>
          <p:nvPr/>
        </p:nvSpPr>
        <p:spPr>
          <a:xfrm>
            <a:off x="3819313" y="4520666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sp>
        <p:nvSpPr>
          <p:cNvPr id="39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58FCD8F3-C746-4DE4-8045-39CBABF7AD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7" name="Picture 3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61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168897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55600" y="230411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55600" y="291925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55600" y="353439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55600" y="414953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35648" y="100101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617681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2234345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2851009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3467673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4084337"/>
            <a:ext cx="8170548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566514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49963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245227" y="1001016"/>
            <a:ext cx="2646774" cy="375228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599" y="4755454"/>
            <a:ext cx="5989628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356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356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356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56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356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7356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7356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967120"/>
            <a:ext cx="2804795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71854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1854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71854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1854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71854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71854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71854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64020" y="204540"/>
            <a:ext cx="5527980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94037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36402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844068" y="100101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36402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844068" y="153635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36402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844068" y="2075971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36402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844068" y="2615589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36402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3844068" y="3155207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36402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3844068" y="3694825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6402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3844068" y="4234443"/>
            <a:ext cx="5185092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785357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5601" y="967120"/>
            <a:ext cx="4106643" cy="36921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4106641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55600" y="4755454"/>
            <a:ext cx="4106641" cy="332562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51435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5395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55588" y="842963"/>
            <a:ext cx="4210050" cy="3816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4681950" y="842963"/>
            <a:ext cx="4210050" cy="38163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5440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4667663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55588" y="1352550"/>
            <a:ext cx="4224337" cy="3306763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8561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8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4667663" y="1363625"/>
            <a:ext cx="4224337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303588"/>
            <a:ext cx="4224338" cy="13557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96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>
            <a:endCxn id="32" idx="3"/>
          </p:cNvCxnSpPr>
          <p:nvPr/>
        </p:nvCxnSpPr>
        <p:spPr bwMode="auto">
          <a:xfrm flipH="1" flipV="1">
            <a:off x="5764121" y="4656786"/>
            <a:ext cx="3369172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endCxn id="32" idx="1"/>
          </p:cNvCxnSpPr>
          <p:nvPr/>
        </p:nvCxnSpPr>
        <p:spPr bwMode="auto">
          <a:xfrm flipV="1">
            <a:off x="-834" y="4656786"/>
            <a:ext cx="3819165" cy="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Группа 3"/>
          <p:cNvGrpSpPr/>
          <p:nvPr/>
        </p:nvGrpSpPr>
        <p:grpSpPr>
          <a:xfrm>
            <a:off x="9220086" y="3"/>
            <a:ext cx="2781533" cy="5143499"/>
            <a:chOff x="9220084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220084" y="1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576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1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1" dirty="0">
                  <a:solidFill>
                    <a:schemeClr val="bg1"/>
                  </a:solidFill>
                </a:rPr>
              </a:br>
              <a:r>
                <a:rPr lang="ru-RU" sz="1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94809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94809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94809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94809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94809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94809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94809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94809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94809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94809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94811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94811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94811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94811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94811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9294811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94811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94811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94811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9791817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2" name="TextBox 31"/>
          <p:cNvSpPr txBox="1"/>
          <p:nvPr/>
        </p:nvSpPr>
        <p:spPr>
          <a:xfrm>
            <a:off x="3818331" y="4518286"/>
            <a:ext cx="194579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5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502D23F4-C02D-4C1E-BE41-8B09B121FF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66" y="796323"/>
            <a:ext cx="2694711" cy="3638650"/>
          </a:xfrm>
          <a:prstGeom prst="rect">
            <a:avLst/>
          </a:prstGeom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61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55588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4667663" y="1352475"/>
            <a:ext cx="4224337" cy="1686488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48186"/>
            <a:ext cx="4224338" cy="1511127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622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0825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667663" y="1152000"/>
            <a:ext cx="4224338" cy="153423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0825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67663" y="3175200"/>
            <a:ext cx="4224338" cy="148411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92334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82218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4669200" y="27895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55588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667663" y="316551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5588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667663" y="1198168"/>
            <a:ext cx="4224338" cy="1355725"/>
          </a:xfrm>
        </p:spPr>
        <p:txBody>
          <a:bodyPr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727200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139627" y="818732"/>
            <a:ext cx="3752373" cy="379435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722427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31" hasCustomPrompt="1"/>
          </p:nvPr>
        </p:nvSpPr>
        <p:spPr>
          <a:xfrm>
            <a:off x="5134854" y="2779201"/>
            <a:ext cx="3752373" cy="384163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81725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55600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35648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5600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735648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5600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735648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5600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735648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55600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35648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55600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735648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55600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735648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821878" y="107383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301926" y="100101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821878" y="160917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301926" y="153635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4821878" y="2148790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301926" y="2075971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4821878" y="2688408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301926" y="2615589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4821878" y="3228026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301926" y="3155207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4821878" y="3767644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301926" y="3694825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4821878" y="430726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301926" y="4234443"/>
            <a:ext cx="3586476" cy="490397"/>
          </a:xfrm>
        </p:spPr>
        <p:txBody>
          <a:bodyPr anchor="ctr"/>
          <a:lstStyle>
            <a:lvl1pPr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97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5601" y="1324799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58377" y="1324800"/>
            <a:ext cx="4247819" cy="170494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55598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2"/>
            <a:ext cx="4223975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6632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197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818733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2821762"/>
            <a:ext cx="4224338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90249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300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78752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000181"/>
            <a:ext cx="4224338" cy="1755274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5110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269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02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55598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4668025" y="818733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250825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ph type="body" idx="27" hasCustomPrompt="1"/>
          </p:nvPr>
        </p:nvSpPr>
        <p:spPr>
          <a:xfrm>
            <a:off x="4663252" y="2813512"/>
            <a:ext cx="4223975" cy="33326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4662889" y="1166925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4662889" y="3169954"/>
            <a:ext cx="4224338" cy="1533525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905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058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156000" y="1267482"/>
            <a:ext cx="2750196" cy="185671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50596" cy="5292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3124200"/>
            <a:ext cx="9144000" cy="20193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буллита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Название 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Название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0641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1218109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205799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156000" y="843281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1218109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1708984"/>
            <a:ext cx="2750196" cy="29492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266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новое фото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Прямоугольник 28"/>
          <p:cNvSpPr/>
          <p:nvPr/>
        </p:nvSpPr>
        <p:spPr bwMode="auto">
          <a:xfrm>
            <a:off x="0" y="0"/>
            <a:ext cx="9144000" cy="5144400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55000"/>
                </a:srgbClr>
              </a:gs>
              <a:gs pos="74000">
                <a:schemeClr val="accent1">
                  <a:alpha val="36000"/>
                </a:schemeClr>
              </a:gs>
              <a:gs pos="100000">
                <a:schemeClr val="accent1">
                  <a:alpha val="1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9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051130" y="1400495"/>
            <a:ext cx="7216570" cy="1441767"/>
          </a:xfrm>
          <a:effectLst/>
        </p:spPr>
        <p:txBody>
          <a:bodyPr>
            <a:normAutofit/>
          </a:bodyPr>
          <a:lstStyle>
            <a:lvl1pPr>
              <a:defRPr lang="ru-RU" sz="3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050927" y="3149762"/>
            <a:ext cx="7216773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050926" y="4140804"/>
            <a:ext cx="7216773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33" y="361700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185333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14705" y="3300700"/>
            <a:ext cx="2775758" cy="135757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185333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185333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114705" y="1309689"/>
            <a:ext cx="2777171" cy="1897024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115067" y="818732"/>
            <a:ext cx="2776933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8714352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5558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2065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156738" y="1332000"/>
            <a:ext cx="2735262" cy="16272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2968184"/>
            <a:ext cx="2750196" cy="1690094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84080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84080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301644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320072"/>
            <a:ext cx="2750196" cy="1398293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293109"/>
            <a:ext cx="2750196" cy="13651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219455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205799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156000" y="1211896"/>
            <a:ext cx="2750196" cy="1506470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556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205799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156000" y="3187495"/>
            <a:ext cx="2750196" cy="1470782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6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556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2058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2058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156000" y="829882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156000" y="280314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652199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02400" y="2802874"/>
            <a:ext cx="2289600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703761" y="2802874"/>
            <a:ext cx="2298639" cy="384622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3652199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6602400" y="828198"/>
            <a:ext cx="2289600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703761" y="828198"/>
            <a:ext cx="2298639" cy="383698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986476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05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8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0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Content Placeholder 6"/>
          <p:cNvSpPr>
            <a:spLocks noGrp="1"/>
          </p:cNvSpPr>
          <p:nvPr>
            <p:ph sz="quarter" idx="38"/>
          </p:nvPr>
        </p:nvSpPr>
        <p:spPr>
          <a:xfrm>
            <a:off x="6156000" y="818733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6"/>
          <p:cNvSpPr>
            <a:spLocks noGrp="1"/>
          </p:cNvSpPr>
          <p:nvPr>
            <p:ph sz="quarter" idx="39"/>
          </p:nvPr>
        </p:nvSpPr>
        <p:spPr>
          <a:xfrm>
            <a:off x="6156000" y="2821762"/>
            <a:ext cx="2765975" cy="188171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6276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607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016482"/>
            <a:ext cx="2765975" cy="1728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29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7099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205799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156000" y="2813388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55599" y="2813388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205799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156000" y="828762"/>
            <a:ext cx="2736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55599" y="828762"/>
            <a:ext cx="27468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3205799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3205799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6156000" y="1277513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6156000" y="3280542"/>
            <a:ext cx="27659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248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114092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55588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4624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4669200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6875999" y="755025"/>
            <a:ext cx="360000" cy="36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4195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302854"/>
            <a:ext cx="2016000" cy="135542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5558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461064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4666539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6872013" y="1363625"/>
            <a:ext cx="2016000" cy="1843087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555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4624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4669200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6875999" y="880633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53012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277511"/>
            <a:ext cx="2016000" cy="3380768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4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200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28760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27772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4172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8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7670510" y="331723"/>
            <a:ext cx="1159938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0" y="984813"/>
            <a:ext cx="5291667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2540" y="1210582"/>
            <a:ext cx="4645860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32338" y="2737470"/>
            <a:ext cx="4645990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2337" y="3614591"/>
            <a:ext cx="4645990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2820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206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3182400"/>
            <a:ext cx="2016000" cy="1475879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55701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46654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46692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6876100" y="1298578"/>
            <a:ext cx="2015900" cy="1883822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9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42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755045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46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847674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2819002"/>
            <a:ext cx="2020775" cy="1884478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40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70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032333"/>
            <a:ext cx="2020775" cy="1656000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979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07405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123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4624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4669200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6875999" y="849827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4624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4624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466920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466920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47" hasCustomPrompt="1"/>
          </p:nvPr>
        </p:nvSpPr>
        <p:spPr>
          <a:xfrm>
            <a:off x="2555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48" hasCustomPrompt="1"/>
          </p:nvPr>
        </p:nvSpPr>
        <p:spPr>
          <a:xfrm>
            <a:off x="24624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Текст 2"/>
          <p:cNvSpPr>
            <a:spLocks noGrp="1"/>
          </p:cNvSpPr>
          <p:nvPr>
            <p:ph type="body" idx="49" hasCustomPrompt="1"/>
          </p:nvPr>
        </p:nvSpPr>
        <p:spPr>
          <a:xfrm>
            <a:off x="4669200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7" name="Текст 2"/>
          <p:cNvSpPr>
            <a:spLocks noGrp="1"/>
          </p:cNvSpPr>
          <p:nvPr>
            <p:ph type="body" idx="50" hasCustomPrompt="1"/>
          </p:nvPr>
        </p:nvSpPr>
        <p:spPr>
          <a:xfrm>
            <a:off x="6875999" y="2813388"/>
            <a:ext cx="2016001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6870050" y="1309214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6870050" y="3280542"/>
            <a:ext cx="2020775" cy="1422937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019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5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191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200940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763212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5517019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200940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200940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763212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763212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5517019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5517019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7270825" y="84982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200940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763212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5517019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7270825" y="2829637"/>
            <a:ext cx="1620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7273175" y="1309214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7273175" y="3280542"/>
            <a:ext cx="1620000" cy="1422937"/>
          </a:xfrm>
        </p:spPr>
        <p:txBody>
          <a:bodyPr/>
          <a:lstStyle>
            <a:lvl1pPr>
              <a:defRPr sz="1100"/>
            </a:lvl1pPr>
            <a:lvl2pPr>
              <a:defRPr sz="105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08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6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2215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Текст 2"/>
          <p:cNvSpPr>
            <a:spLocks noGrp="1"/>
          </p:cNvSpPr>
          <p:nvPr>
            <p:ph type="body" idx="43" hasCustomPrompt="1"/>
          </p:nvPr>
        </p:nvSpPr>
        <p:spPr>
          <a:xfrm>
            <a:off x="25559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1" name="Текст 2"/>
          <p:cNvSpPr>
            <a:spLocks noGrp="1"/>
          </p:cNvSpPr>
          <p:nvPr>
            <p:ph type="body" idx="44" hasCustomPrompt="1"/>
          </p:nvPr>
        </p:nvSpPr>
        <p:spPr>
          <a:xfrm>
            <a:off x="170927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2" name="Текст 2"/>
          <p:cNvSpPr>
            <a:spLocks noGrp="1"/>
          </p:cNvSpPr>
          <p:nvPr>
            <p:ph type="body" idx="45" hasCustomPrompt="1"/>
          </p:nvPr>
        </p:nvSpPr>
        <p:spPr>
          <a:xfrm>
            <a:off x="316295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3" name="Текст 2"/>
          <p:cNvSpPr>
            <a:spLocks noGrp="1"/>
          </p:cNvSpPr>
          <p:nvPr>
            <p:ph type="body" idx="46" hasCustomPrompt="1"/>
          </p:nvPr>
        </p:nvSpPr>
        <p:spPr>
          <a:xfrm>
            <a:off x="461663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25" name="Content Placeholder 6"/>
          <p:cNvSpPr>
            <a:spLocks noGrp="1"/>
          </p:cNvSpPr>
          <p:nvPr>
            <p:ph sz="quarter" idx="28"/>
          </p:nvPr>
        </p:nvSpPr>
        <p:spPr>
          <a:xfrm>
            <a:off x="250825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29"/>
          </p:nvPr>
        </p:nvSpPr>
        <p:spPr>
          <a:xfrm>
            <a:off x="250825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30"/>
          </p:nvPr>
        </p:nvSpPr>
        <p:spPr>
          <a:xfrm>
            <a:off x="170927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31"/>
          </p:nvPr>
        </p:nvSpPr>
        <p:spPr>
          <a:xfrm>
            <a:off x="170927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9" name="Content Placeholder 6"/>
          <p:cNvSpPr>
            <a:spLocks noGrp="1"/>
          </p:cNvSpPr>
          <p:nvPr>
            <p:ph sz="quarter" idx="41"/>
          </p:nvPr>
        </p:nvSpPr>
        <p:spPr>
          <a:xfrm>
            <a:off x="316295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Content Placeholder 6"/>
          <p:cNvSpPr>
            <a:spLocks noGrp="1"/>
          </p:cNvSpPr>
          <p:nvPr>
            <p:ph sz="quarter" idx="42"/>
          </p:nvPr>
        </p:nvSpPr>
        <p:spPr>
          <a:xfrm>
            <a:off x="316295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8" name="Content Placeholder 6"/>
          <p:cNvSpPr>
            <a:spLocks noGrp="1"/>
          </p:cNvSpPr>
          <p:nvPr>
            <p:ph sz="quarter" idx="51"/>
          </p:nvPr>
        </p:nvSpPr>
        <p:spPr>
          <a:xfrm>
            <a:off x="461663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9" name="Content Placeholder 6"/>
          <p:cNvSpPr>
            <a:spLocks noGrp="1"/>
          </p:cNvSpPr>
          <p:nvPr>
            <p:ph sz="quarter" idx="52"/>
          </p:nvPr>
        </p:nvSpPr>
        <p:spPr>
          <a:xfrm>
            <a:off x="461663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Текст 2"/>
          <p:cNvSpPr>
            <a:spLocks noGrp="1"/>
          </p:cNvSpPr>
          <p:nvPr>
            <p:ph type="body" idx="53" hasCustomPrompt="1"/>
          </p:nvPr>
        </p:nvSpPr>
        <p:spPr>
          <a:xfrm>
            <a:off x="6070318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0" name="Текст 2"/>
          <p:cNvSpPr>
            <a:spLocks noGrp="1"/>
          </p:cNvSpPr>
          <p:nvPr>
            <p:ph type="body" idx="54" hasCustomPrompt="1"/>
          </p:nvPr>
        </p:nvSpPr>
        <p:spPr>
          <a:xfrm>
            <a:off x="25559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1" name="Текст 2"/>
          <p:cNvSpPr>
            <a:spLocks noGrp="1"/>
          </p:cNvSpPr>
          <p:nvPr>
            <p:ph type="body" idx="55" hasCustomPrompt="1"/>
          </p:nvPr>
        </p:nvSpPr>
        <p:spPr>
          <a:xfrm>
            <a:off x="170927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2" name="Текст 2"/>
          <p:cNvSpPr>
            <a:spLocks noGrp="1"/>
          </p:cNvSpPr>
          <p:nvPr>
            <p:ph type="body" idx="56" hasCustomPrompt="1"/>
          </p:nvPr>
        </p:nvSpPr>
        <p:spPr>
          <a:xfrm>
            <a:off x="316295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3" name="Текст 2"/>
          <p:cNvSpPr>
            <a:spLocks noGrp="1"/>
          </p:cNvSpPr>
          <p:nvPr>
            <p:ph type="body" idx="57" hasCustomPrompt="1"/>
          </p:nvPr>
        </p:nvSpPr>
        <p:spPr>
          <a:xfrm>
            <a:off x="461663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4" name="Текст 2"/>
          <p:cNvSpPr>
            <a:spLocks noGrp="1"/>
          </p:cNvSpPr>
          <p:nvPr>
            <p:ph type="body" idx="58" hasCustomPrompt="1"/>
          </p:nvPr>
        </p:nvSpPr>
        <p:spPr>
          <a:xfrm>
            <a:off x="6070318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45" name="Content Placeholder 6"/>
          <p:cNvSpPr>
            <a:spLocks noGrp="1"/>
          </p:cNvSpPr>
          <p:nvPr>
            <p:ph sz="quarter" idx="59"/>
          </p:nvPr>
        </p:nvSpPr>
        <p:spPr>
          <a:xfrm>
            <a:off x="6070318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6" name="Content Placeholder 6"/>
          <p:cNvSpPr>
            <a:spLocks noGrp="1"/>
          </p:cNvSpPr>
          <p:nvPr>
            <p:ph sz="quarter" idx="60"/>
          </p:nvPr>
        </p:nvSpPr>
        <p:spPr>
          <a:xfrm>
            <a:off x="6070318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4" name="Текст 2"/>
          <p:cNvSpPr>
            <a:spLocks noGrp="1"/>
          </p:cNvSpPr>
          <p:nvPr>
            <p:ph type="body" idx="61" hasCustomPrompt="1"/>
          </p:nvPr>
        </p:nvSpPr>
        <p:spPr>
          <a:xfrm>
            <a:off x="7524000" y="84982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5" name="Текст 2"/>
          <p:cNvSpPr>
            <a:spLocks noGrp="1"/>
          </p:cNvSpPr>
          <p:nvPr>
            <p:ph type="body" idx="62" hasCustomPrompt="1"/>
          </p:nvPr>
        </p:nvSpPr>
        <p:spPr>
          <a:xfrm>
            <a:off x="7524000" y="2829637"/>
            <a:ext cx="1368000" cy="448751"/>
          </a:xfrm>
        </p:spPr>
        <p:txBody>
          <a:bodyPr anchor="t"/>
          <a:lstStyle>
            <a:lvl1pPr marL="0" indent="0">
              <a:buNone/>
              <a:defRPr sz="12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36" name="Content Placeholder 6"/>
          <p:cNvSpPr>
            <a:spLocks noGrp="1"/>
          </p:cNvSpPr>
          <p:nvPr>
            <p:ph sz="quarter" idx="63"/>
          </p:nvPr>
        </p:nvSpPr>
        <p:spPr>
          <a:xfrm>
            <a:off x="7524000" y="1309214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7" name="Content Placeholder 6"/>
          <p:cNvSpPr>
            <a:spLocks noGrp="1"/>
          </p:cNvSpPr>
          <p:nvPr>
            <p:ph sz="quarter" idx="64"/>
          </p:nvPr>
        </p:nvSpPr>
        <p:spPr>
          <a:xfrm>
            <a:off x="7524000" y="3280542"/>
            <a:ext cx="1368000" cy="1422937"/>
          </a:xfrm>
        </p:spPr>
        <p:txBody>
          <a:bodyPr/>
          <a:lstStyle>
            <a:lvl1pPr>
              <a:defRPr sz="1000"/>
            </a:lvl1pPr>
            <a:lvl2pPr>
              <a:defRPr sz="900"/>
            </a:lvl2pPr>
            <a:lvl3pPr>
              <a:defRPr sz="600"/>
            </a:lvl3pPr>
            <a:lvl4pPr>
              <a:defRPr sz="600"/>
            </a:lvl4pPr>
            <a:lvl5pPr>
              <a:defRPr sz="600"/>
            </a:lvl5pPr>
          </a:lstStyle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347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6692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4624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6876000" y="1641474"/>
            <a:ext cx="201600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4623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6691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6875999" y="830914"/>
            <a:ext cx="2167562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8153726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22333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55599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1996236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3744793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493350" y="830914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233987" y="828760"/>
            <a:ext cx="1740637" cy="731186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2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5560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004157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7554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493350" y="1641474"/>
            <a:ext cx="1641780" cy="3016805"/>
          </a:xfrm>
        </p:spPr>
        <p:txBody>
          <a:bodyPr/>
          <a:lstStyle>
            <a:lvl1pPr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701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sp>
        <p:nvSpPr>
          <p:cNvPr id="7" name="Арка 6"/>
          <p:cNvSpPr/>
          <p:nvPr/>
        </p:nvSpPr>
        <p:spPr bwMode="auto">
          <a:xfrm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Арка 7"/>
          <p:cNvSpPr/>
          <p:nvPr/>
        </p:nvSpPr>
        <p:spPr bwMode="auto">
          <a:xfrm rot="54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Арка 8"/>
          <p:cNvSpPr/>
          <p:nvPr/>
        </p:nvSpPr>
        <p:spPr bwMode="auto">
          <a:xfrm rot="10800000">
            <a:off x="3188465" y="1318908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10" name="Арка 9"/>
          <p:cNvSpPr/>
          <p:nvPr/>
        </p:nvSpPr>
        <p:spPr bwMode="auto">
          <a:xfrm rot="16200000">
            <a:off x="3188463" y="1318910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Нашивка 14"/>
          <p:cNvSpPr/>
          <p:nvPr/>
        </p:nvSpPr>
        <p:spPr bwMode="auto">
          <a:xfrm>
            <a:off x="4455098" y="1318908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Нашивка 15"/>
          <p:cNvSpPr/>
          <p:nvPr/>
        </p:nvSpPr>
        <p:spPr bwMode="auto">
          <a:xfrm rot="5400000">
            <a:off x="5663864" y="2516304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Нашивка 16"/>
          <p:cNvSpPr/>
          <p:nvPr/>
        </p:nvSpPr>
        <p:spPr bwMode="auto">
          <a:xfrm flipH="1">
            <a:off x="4482394" y="3722311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4" name="Нашивка 17"/>
          <p:cNvSpPr/>
          <p:nvPr/>
        </p:nvSpPr>
        <p:spPr bwMode="auto">
          <a:xfrm rot="16200000">
            <a:off x="3253640" y="2530437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55588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55588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191482" y="1071831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191482" y="2839718"/>
            <a:ext cx="2716212" cy="1585913"/>
          </a:xfrm>
        </p:spPr>
        <p:txBody>
          <a:bodyPr lIns="108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2995684" y="1501255"/>
            <a:ext cx="630960" cy="17350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2995684" y="3782109"/>
            <a:ext cx="721056" cy="178463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5591864" y="1501255"/>
            <a:ext cx="591174" cy="213654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500048" y="3782111"/>
            <a:ext cx="682990" cy="178462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0080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en-US" smtClean="0"/>
              <a:t>23.06.2020</a:t>
            </a:r>
            <a:endParaRPr lang="ru-RU"/>
          </a:p>
        </p:txBody>
      </p:sp>
      <p:grpSp>
        <p:nvGrpSpPr>
          <p:cNvPr id="6" name="Группа 5"/>
          <p:cNvGrpSpPr/>
          <p:nvPr/>
        </p:nvGrpSpPr>
        <p:grpSpPr>
          <a:xfrm rot="1829240">
            <a:off x="3303218" y="1554182"/>
            <a:ext cx="2637368" cy="2569106"/>
            <a:chOff x="62794" y="1435622"/>
            <a:chExt cx="2880788" cy="2806226"/>
          </a:xfrm>
        </p:grpSpPr>
        <p:sp>
          <p:nvSpPr>
            <p:cNvPr id="7" name="Арка 6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Арка 7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Арка 8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0" name="Арка 9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Арка 10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Арка 11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8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558715" y="3655636"/>
            <a:ext cx="1130097" cy="465917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558714" y="1473326"/>
            <a:ext cx="1127608" cy="531002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55600" y="878807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55600" y="2202921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55600" y="3527035"/>
            <a:ext cx="2303114" cy="1189038"/>
          </a:xfrm>
        </p:spPr>
        <p:txBody>
          <a:bodyPr lIns="0" tIns="36000" rIns="72000" bIns="36000" anchor="ctr"/>
          <a:lstStyle>
            <a:lvl1pPr algn="r">
              <a:defRPr sz="1200"/>
            </a:lvl1pPr>
            <a:lvl2pPr algn="r">
              <a:defRPr sz="1100"/>
            </a:lvl2pPr>
            <a:lvl3pPr algn="r">
              <a:defRPr sz="900"/>
            </a:lvl3pPr>
            <a:lvl4pPr algn="r">
              <a:defRPr sz="900"/>
            </a:lvl4pPr>
            <a:lvl5pPr algn="r"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6558240" y="878807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6558240" y="2202921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6558240" y="3527035"/>
            <a:ext cx="2333760" cy="1189038"/>
          </a:xfrm>
        </p:spPr>
        <p:txBody>
          <a:bodyPr lIns="72000" tIns="36000" rIns="72000" bIns="36000" anchor="ctr"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5563760" y="3678753"/>
            <a:ext cx="994480" cy="4428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5550968" y="1473326"/>
            <a:ext cx="1007272" cy="540292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587465" y="2797440"/>
            <a:ext cx="739105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5911135" y="2797440"/>
            <a:ext cx="629001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237448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Титульный фоновое фото">
    <p:bg>
      <p:bgPr>
        <a:blipFill dpi="0" rotWithShape="1">
          <a:blip r:embed="rId5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35027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26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3869267" y="984813"/>
            <a:ext cx="5274733" cy="3241289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77000"/>
                </a:srgbClr>
              </a:gs>
              <a:gs pos="74000">
                <a:schemeClr val="accent1">
                  <a:alpha val="68000"/>
                </a:schemeClr>
              </a:gs>
              <a:gs pos="100000">
                <a:schemeClr val="accent1">
                  <a:alpha val="5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123267" y="1210582"/>
            <a:ext cx="4761175" cy="1441767"/>
          </a:xfrm>
          <a:effectLst/>
        </p:spPr>
        <p:txBody>
          <a:bodyPr>
            <a:normAutofit/>
          </a:bodyPr>
          <a:lstStyle>
            <a:lvl1pPr>
              <a:defRPr lang="ru-RU" sz="28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23047" y="2737470"/>
            <a:ext cx="4761308" cy="792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4123046" y="3614591"/>
            <a:ext cx="4761308" cy="54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31" name="Rectangle 30"/>
          <p:cNvSpPr/>
          <p:nvPr/>
        </p:nvSpPr>
        <p:spPr bwMode="auto">
          <a:xfrm>
            <a:off x="312248" y="331723"/>
            <a:ext cx="1114216" cy="360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188" y="428923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1295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4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3924000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1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3924002" y="3895792"/>
            <a:ext cx="4939160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924000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000" y="30487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71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5577276" y="0"/>
            <a:ext cx="3566724" cy="51435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37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4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64485" y="2886137"/>
            <a:ext cx="4945680" cy="774322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64487" y="3895792"/>
            <a:ext cx="4960594" cy="51126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64485" y="1158013"/>
            <a:ext cx="4960596" cy="147094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51" y="357166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95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 (рам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393540" y="3094276"/>
            <a:ext cx="8414796" cy="1732369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7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/>
        </p:nvSpPr>
        <p:spPr>
          <a:xfrm>
            <a:off x="9174366" y="3"/>
            <a:ext cx="2781533" cy="51434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9249089" y="68324"/>
            <a:ext cx="377590" cy="436959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9249089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9249089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249089" y="3367557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9249089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9249089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9249089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9249089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9249089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9249089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9249091" y="942241"/>
            <a:ext cx="377590" cy="43815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9249091" y="505284"/>
            <a:ext cx="377590" cy="436960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9249091" y="3367560"/>
            <a:ext cx="377590" cy="436960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9249091" y="1623279"/>
            <a:ext cx="377590" cy="43815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9249091" y="2056667"/>
            <a:ext cx="377590" cy="436959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249091" y="2493630"/>
            <a:ext cx="377590" cy="436960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9249091" y="2930588"/>
            <a:ext cx="377590" cy="436959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9249091" y="3804504"/>
            <a:ext cx="377590" cy="43815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9249091" y="4242654"/>
            <a:ext cx="377590" cy="43815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9746099" y="444500"/>
            <a:ext cx="2051050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02217" y="898072"/>
            <a:ext cx="8506117" cy="1298132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spcBef>
                <a:spcPts val="0"/>
              </a:spcBef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 bwMode="auto">
          <a:xfrm>
            <a:off x="393539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/>
          <p:nvPr/>
        </p:nvCxnSpPr>
        <p:spPr bwMode="auto">
          <a:xfrm>
            <a:off x="5203902" y="2278556"/>
            <a:ext cx="0" cy="696969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76184" y="2225922"/>
            <a:ext cx="4644059" cy="774322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287562" y="2225922"/>
            <a:ext cx="3520772" cy="774322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998" y="366765"/>
            <a:ext cx="876123" cy="1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04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2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oleObject" Target="../embeddings/oleObject12.bin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21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oleObject" Target="../embeddings/oleObject18.bin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ags" Target="../tags/tag30.xml"/><Relationship Id="rId5" Type="http://schemas.openxmlformats.org/officeDocument/2006/relationships/slideLayout" Target="../slideLayouts/slideLayout24.xml"/><Relationship Id="rId10" Type="http://schemas.openxmlformats.org/officeDocument/2006/relationships/tags" Target="../tags/tag29.xml"/><Relationship Id="rId4" Type="http://schemas.openxmlformats.org/officeDocument/2006/relationships/slideLayout" Target="../slideLayouts/slideLayout23.xml"/><Relationship Id="rId9" Type="http://schemas.openxmlformats.org/officeDocument/2006/relationships/vmlDrawing" Target="../drawings/vmlDrawing18.vml"/><Relationship Id="rId1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vmlDrawing" Target="../drawings/vmlDrawing19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8.xml"/><Relationship Id="rId16" Type="http://schemas.openxmlformats.org/officeDocument/2006/relationships/oleObject" Target="../embeddings/oleObject19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4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ags" Target="../tags/tag39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vmlDrawing" Target="../drawings/vmlDrawing23.v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.emf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23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ags" Target="../tags/tag49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ags" Target="../tags/tag48.xml"/><Relationship Id="rId2" Type="http://schemas.openxmlformats.org/officeDocument/2006/relationships/slideLayout" Target="../slideLayouts/slideLayout4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vmlDrawing" Target="../drawings/vmlDrawing28.vml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1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oleObject" Target="../embeddings/oleObject28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slideLayout" Target="../slideLayouts/slideLayout58.xml"/><Relationship Id="rId7" Type="http://schemas.openxmlformats.org/officeDocument/2006/relationships/tags" Target="../tags/tag60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vmlDrawing" Target="../drawings/vmlDrawing34.vml"/><Relationship Id="rId11" Type="http://schemas.openxmlformats.org/officeDocument/2006/relationships/image" Target="../media/image2.png"/><Relationship Id="rId5" Type="http://schemas.openxmlformats.org/officeDocument/2006/relationships/theme" Target="../theme/theme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9.xml"/><Relationship Id="rId9" Type="http://schemas.openxmlformats.org/officeDocument/2006/relationships/oleObject" Target="../embeddings/oleObject3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802433045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45" name="Слайд think-cell" r:id="rId18" imgW="270" imgH="270" progId="TCLayout.ActiveDocument.1">
                  <p:embed/>
                </p:oleObj>
              </mc:Choice>
              <mc:Fallback>
                <p:oleObj name="Слайд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52" r:id="rId2"/>
    <p:sldLayoutId id="2147484225" r:id="rId3"/>
    <p:sldLayoutId id="2147484207" r:id="rId4"/>
    <p:sldLayoutId id="2147484290" r:id="rId5"/>
    <p:sldLayoutId id="2147484291" r:id="rId6"/>
    <p:sldLayoutId id="2147484205" r:id="rId7"/>
    <p:sldLayoutId id="2147484251" r:id="rId8"/>
    <p:sldLayoutId id="2147484206" r:id="rId9"/>
    <p:sldLayoutId id="2147484250" r:id="rId10"/>
    <p:sldLayoutId id="2147484228" r:id="rId11"/>
    <p:sldLayoutId id="2147484247" r:id="rId12"/>
    <p:sldLayoutId id="214748424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71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6" r:id="rId1"/>
    <p:sldLayoutId id="2147484307" r:id="rId2"/>
    <p:sldLayoutId id="2147484534" r:id="rId3"/>
    <p:sldLayoutId id="2147484535" r:id="rId4"/>
    <p:sldLayoutId id="2147484536" r:id="rId5"/>
    <p:sldLayoutId id="2147484545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58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541" r:id="rId2"/>
    <p:sldLayoutId id="2147484542" r:id="rId3"/>
    <p:sldLayoutId id="2147484543" r:id="rId4"/>
    <p:sldLayoutId id="2147484544" r:id="rId5"/>
    <p:sldLayoutId id="2147484546" r:id="rId6"/>
    <p:sldLayoutId id="2147484547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15" name="Слайд think-cell" r:id="rId16" imgW="270" imgH="270" progId="TCLayout.ActiveDocument.1">
                  <p:embed/>
                </p:oleObj>
              </mc:Choice>
              <mc:Fallback>
                <p:oleObj name="Слайд think-cell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587872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5" r:id="rId1"/>
    <p:sldLayoutId id="2147484336" r:id="rId2"/>
    <p:sldLayoutId id="2147484337" r:id="rId3"/>
    <p:sldLayoutId id="2147484338" r:id="rId4"/>
    <p:sldLayoutId id="2147484339" r:id="rId5"/>
    <p:sldLayoutId id="2147484340" r:id="rId6"/>
    <p:sldLayoutId id="2147484346" r:id="rId7"/>
    <p:sldLayoutId id="2147484352" r:id="rId8"/>
    <p:sldLayoutId id="2147484549" r:id="rId9"/>
    <p:sldLayoutId id="2147484550" r:id="rId10"/>
    <p:sldLayoutId id="214748454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0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007367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551" r:id="rId7"/>
    <p:sldLayoutId id="2147484552" r:id="rId8"/>
    <p:sldLayoutId id="2147484553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88" name="Слайд think-cell" r:id="rId14" imgW="270" imgH="270" progId="TCLayout.ActiveDocument.1">
                  <p:embed/>
                </p:oleObj>
              </mc:Choice>
              <mc:Fallback>
                <p:oleObj name="Слайд think-cell" r:id="rId1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30668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3" r:id="rId1"/>
    <p:sldLayoutId id="2147484434" r:id="rId2"/>
    <p:sldLayoutId id="2147484435" r:id="rId3"/>
    <p:sldLayoutId id="2147484436" r:id="rId4"/>
    <p:sldLayoutId id="2147484556" r:id="rId5"/>
    <p:sldLayoutId id="2147484555" r:id="rId6"/>
    <p:sldLayoutId id="2147484554" r:id="rId7"/>
    <p:sldLayoutId id="2147484557" r:id="rId8"/>
    <p:sldLayoutId id="2147484558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10" name="Слайд think-cell" r:id="rId9" imgW="270" imgH="270" progId="TCLayout.ActiveDocument.1">
                  <p:embed/>
                </p:oleObj>
              </mc:Choice>
              <mc:Fallback>
                <p:oleObj name="Слайд think-cell" r:id="rId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5856" y="4881994"/>
            <a:ext cx="876289" cy="1656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5600" y="853441"/>
            <a:ext cx="8636400" cy="37983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5600" y="204540"/>
            <a:ext cx="8636400" cy="529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16636" y="4900931"/>
            <a:ext cx="289560" cy="1778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55600" y="4755454"/>
            <a:ext cx="5986800" cy="332562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245227" y="4917928"/>
            <a:ext cx="936625" cy="167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en-US" smtClean="0"/>
              <a:t>23.06.2020</a:t>
            </a:r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426202" y="4778314"/>
            <a:ext cx="27178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9249089" y="2"/>
            <a:ext cx="377590" cy="436959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249089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9249089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9249089" y="3299235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9249089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9249089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9249089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9249089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9249089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9249089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9249091" y="873918"/>
            <a:ext cx="377590" cy="43815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9249091" y="436962"/>
            <a:ext cx="377590" cy="436960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9249091" y="3299238"/>
            <a:ext cx="377590" cy="436960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9249091" y="1554956"/>
            <a:ext cx="377590" cy="43815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9249091" y="1988345"/>
            <a:ext cx="377590" cy="436959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9249091" y="2425308"/>
            <a:ext cx="377590" cy="436960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249091" y="2862263"/>
            <a:ext cx="377590" cy="436959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9249091" y="3736181"/>
            <a:ext cx="377590" cy="43815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249091" y="4174331"/>
            <a:ext cx="377590" cy="43815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3193761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1" r:id="rId1"/>
    <p:sldLayoutId id="2147484482" r:id="rId2"/>
    <p:sldLayoutId id="2147484483" r:id="rId3"/>
    <p:sldLayoutId id="214748448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18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8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P H1200FF – </a:t>
            </a:r>
            <a:r>
              <a:rPr lang="ru-RU" dirty="0" smtClean="0"/>
              <a:t>новая марка СИБУР для </a:t>
            </a:r>
            <a:r>
              <a:rPr lang="ru-RU" dirty="0" err="1" smtClean="0"/>
              <a:t>мелтблауна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70345" y="733740"/>
            <a:ext cx="2221655" cy="204456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70344" y="2956209"/>
            <a:ext cx="2221655" cy="175972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55600" y="733740"/>
            <a:ext cx="6151778" cy="30931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8C95"/>
                </a:solidFill>
              </a:rPr>
              <a:t>Ключевые преимущества: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ru-RU" dirty="0" smtClean="0"/>
              <a:t>Отличные органолептические свойства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ru-RU" dirty="0" smtClean="0"/>
              <a:t>Отсутствие пероксидов = отсутствие риска раздражающего эффекта при контакте изделий с кожей 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ru-RU" dirty="0" smtClean="0"/>
              <a:t>Стабильность цветовых характеристик при переработке и в процессе эксплуатации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ru-RU" dirty="0" smtClean="0"/>
              <a:t>Возможность </a:t>
            </a:r>
            <a:r>
              <a:rPr lang="ru-RU" smtClean="0"/>
              <a:t>управления молекулярно-массовым распределением</a:t>
            </a:r>
            <a:endParaRPr lang="ru-RU" dirty="0" smtClean="0"/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ru-RU" dirty="0" smtClean="0"/>
              <a:t>Широкое технологическое окно 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r>
              <a:rPr lang="ru-RU" dirty="0" smtClean="0"/>
              <a:t>Изменение текучести за счет варьирования режимов переработки</a:t>
            </a:r>
          </a:p>
          <a:p>
            <a:pPr marL="285750" indent="-285750">
              <a:buFont typeface="Symbol" panose="05050102010706020507" pitchFamily="18" charset="2"/>
              <a:buChar char="-"/>
            </a:pPr>
            <a:endParaRPr lang="ru-RU" dirty="0" smtClean="0"/>
          </a:p>
          <a:p>
            <a:pPr marL="285750" indent="-285750">
              <a:buFont typeface="Symbol" panose="05050102010706020507" pitchFamily="18" charset="2"/>
              <a:buChar char="-"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25858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овые направления развития</a:t>
            </a:r>
            <a:r>
              <a:rPr lang="en-US" dirty="0" smtClean="0"/>
              <a:t> – </a:t>
            </a:r>
            <a:r>
              <a:rPr lang="ru-RU" dirty="0" smtClean="0"/>
              <a:t>обеспечение специальных потребительских свойств 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99" y="899245"/>
            <a:ext cx="3365020" cy="2604110"/>
          </a:xfrm>
          <a:prstGeom prst="rect">
            <a:avLst/>
          </a:prstGeom>
        </p:spPr>
      </p:pic>
      <p:grpSp>
        <p:nvGrpSpPr>
          <p:cNvPr id="10" name="Группа 9"/>
          <p:cNvGrpSpPr/>
          <p:nvPr/>
        </p:nvGrpSpPr>
        <p:grpSpPr>
          <a:xfrm>
            <a:off x="5040575" y="2201300"/>
            <a:ext cx="3679988" cy="2448630"/>
            <a:chOff x="376776" y="2049997"/>
            <a:chExt cx="3679988" cy="2448630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776" y="2049997"/>
              <a:ext cx="3679988" cy="1871313"/>
            </a:xfrm>
            <a:prstGeom prst="rect">
              <a:avLst/>
            </a:prstGeom>
            <a:ln w="28575">
              <a:solidFill>
                <a:schemeClr val="tx1"/>
              </a:solidFill>
            </a:ln>
          </p:spPr>
        </p:pic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79836" y="3945501"/>
              <a:ext cx="3676928" cy="553126"/>
            </a:xfrm>
            <a:prstGeom prst="rect">
              <a:avLst/>
            </a:prstGeom>
            <a:ln w="28575">
              <a:solidFill>
                <a:schemeClr val="tx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3754941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лиЛаб – исследовательский центр СИБУР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114" y="860000"/>
            <a:ext cx="5763455" cy="338137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8579" y="860000"/>
            <a:ext cx="2890535" cy="31085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rgbClr val="008C95"/>
                </a:solidFill>
                <a:latin typeface="Arial Narrow" panose="020B0606020202030204" pitchFamily="34" charset="0"/>
              </a:rPr>
              <a:t>ТЕХНИЧЕСКИЕ ХАРАКТЕРИСТИКИ:</a:t>
            </a:r>
          </a:p>
          <a:p>
            <a:endParaRPr lang="ru-RU" sz="1400" dirty="0">
              <a:latin typeface="Arial Narrow" panose="020B0606020202030204" pitchFamily="34" charset="0"/>
            </a:endParaRPr>
          </a:p>
          <a:p>
            <a:r>
              <a:rPr lang="ru-RU" sz="1400" dirty="0">
                <a:latin typeface="Arial Narrow" panose="020B0606020202030204" pitchFamily="34" charset="0"/>
              </a:rPr>
              <a:t>Линейная плотность нити: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20 – 2000 денье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Число </a:t>
            </a:r>
            <a:r>
              <a:rPr lang="ru-RU" sz="1400" dirty="0" err="1">
                <a:latin typeface="Arial Narrow" panose="020B0606020202030204" pitchFamily="34" charset="0"/>
              </a:rPr>
              <a:t>филаментов</a:t>
            </a:r>
            <a:r>
              <a:rPr lang="ru-RU" sz="1400" dirty="0">
                <a:latin typeface="Arial Narrow" panose="020B0606020202030204" pitchFamily="34" charset="0"/>
              </a:rPr>
              <a:t>: 144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Толщина </a:t>
            </a:r>
            <a:r>
              <a:rPr lang="ru-RU" sz="1400" dirty="0" err="1">
                <a:latin typeface="Arial Narrow" panose="020B0606020202030204" pitchFamily="34" charset="0"/>
              </a:rPr>
              <a:t>филамента</a:t>
            </a:r>
            <a:r>
              <a:rPr lang="ru-RU" sz="1400" dirty="0">
                <a:latin typeface="Arial Narrow" panose="020B0606020202030204" pitchFamily="34" charset="0"/>
              </a:rPr>
              <a:t>: 12 – 150 мкм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Скорость намотки: до 800 м/мин</a:t>
            </a:r>
          </a:p>
          <a:p>
            <a:endParaRPr lang="ru-RU" sz="1400" dirty="0">
              <a:latin typeface="Arial Narrow" panose="020B0606020202030204" pitchFamily="34" charset="0"/>
            </a:endParaRPr>
          </a:p>
          <a:p>
            <a:r>
              <a:rPr lang="ru-RU" sz="1400" dirty="0">
                <a:latin typeface="Arial Narrow" panose="020B0606020202030204" pitchFamily="34" charset="0"/>
              </a:rPr>
              <a:t>Моделирование процессов</a:t>
            </a:r>
          </a:p>
          <a:p>
            <a:r>
              <a:rPr lang="ru-RU" sz="1400" dirty="0">
                <a:latin typeface="Arial Narrow" panose="020B0606020202030204" pitchFamily="34" charset="0"/>
              </a:rPr>
              <a:t>производства: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Нетканых материалов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Высокопрочных нитей</a:t>
            </a:r>
          </a:p>
          <a:p>
            <a:pPr marL="285750" indent="-2857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</a:rPr>
              <a:t>Рафии</a:t>
            </a:r>
          </a:p>
          <a:p>
            <a:pPr marL="285750" indent="-285750">
              <a:buFontTx/>
              <a:buChar char="-"/>
            </a:pPr>
            <a:endParaRPr lang="ru-RU" sz="14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6012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лиЛаб – исследовательский центр СИБУР</a:t>
            </a:r>
            <a:endParaRPr lang="ru-RU" dirty="0"/>
          </a:p>
        </p:txBody>
      </p:sp>
      <p:pic>
        <p:nvPicPr>
          <p:cNvPr id="5" name="Picture 2" descr="C:\Users\HP\Desktop\BMA_997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646" y="2357420"/>
            <a:ext cx="3420777" cy="2280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s://ae01.alicdn.com/kf/HTB1tyEspQyWBuNjy0Fpq6yssXXaY/250ml-1000ml-New-Lab-Soxhlet-Extractor-Essential-Oil-Steam-Distillation-Glassware-Kits-w-Thermostat-Electric-Heater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905" r="13259"/>
          <a:stretch/>
        </p:blipFill>
        <p:spPr bwMode="auto">
          <a:xfrm>
            <a:off x="4255258" y="2398256"/>
            <a:ext cx="1586376" cy="2239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58578" y="860000"/>
            <a:ext cx="5594889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rgbClr val="008C95"/>
                </a:solidFill>
                <a:latin typeface="Arial Narrow" panose="020B0606020202030204" pitchFamily="34" charset="0"/>
              </a:rPr>
              <a:t>ОЦЕНКА СВОЙСТВ ГОТОВЫХ ИЗДЕЛИЙ:</a:t>
            </a:r>
            <a:endParaRPr lang="ru-RU" sz="1400" dirty="0">
              <a:solidFill>
                <a:srgbClr val="008C95"/>
              </a:solidFill>
              <a:latin typeface="Arial Narrow" panose="020B0606020202030204" pitchFamily="34" charset="0"/>
            </a:endParaRPr>
          </a:p>
          <a:p>
            <a:endParaRPr lang="ru-RU" sz="1400" dirty="0">
              <a:latin typeface="Arial Narrow" panose="020B0606020202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400" dirty="0" smtClean="0">
                <a:latin typeface="Arial Narrow" panose="020B0606020202030204" pitchFamily="34" charset="0"/>
              </a:rPr>
              <a:t>Определение массовой доли </a:t>
            </a:r>
            <a:r>
              <a:rPr lang="ru-RU" sz="1400" dirty="0" err="1" smtClean="0">
                <a:latin typeface="Arial Narrow" panose="020B0606020202030204" pitchFamily="34" charset="0"/>
              </a:rPr>
              <a:t>замасливателя</a:t>
            </a:r>
            <a:r>
              <a:rPr lang="ru-RU" sz="1400" dirty="0"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latin typeface="Arial Narrow" panose="020B0606020202030204" pitchFamily="34" charset="0"/>
              </a:rPr>
              <a:t>(ГОСТ 29332)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latin typeface="Arial Narrow" panose="020B0606020202030204" pitchFamily="34" charset="0"/>
              </a:rPr>
              <a:t>Определение линейной плотности нити (ГОСТ </a:t>
            </a:r>
            <a:r>
              <a:rPr lang="ru-RU" sz="1400" dirty="0">
                <a:latin typeface="Arial Narrow" panose="020B0606020202030204" pitchFamily="34" charset="0"/>
              </a:rPr>
              <a:t>6611.1, ISO </a:t>
            </a:r>
            <a:r>
              <a:rPr lang="ru-RU" sz="1400" dirty="0" smtClean="0">
                <a:latin typeface="Arial Narrow" panose="020B0606020202030204" pitchFamily="34" charset="0"/>
              </a:rPr>
              <a:t>2062)</a:t>
            </a:r>
            <a:endParaRPr lang="ru-RU" sz="1400" dirty="0">
              <a:latin typeface="Arial Narrow" panose="020B060602020203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sz="1400" dirty="0">
                <a:latin typeface="Arial Narrow" panose="020B0606020202030204" pitchFamily="34" charset="0"/>
              </a:rPr>
              <a:t>Определение свойств при растяжении </a:t>
            </a:r>
            <a:r>
              <a:rPr lang="ru-RU" sz="1400" dirty="0" smtClean="0">
                <a:latin typeface="Arial Narrow" panose="020B0606020202030204" pitchFamily="34" charset="0"/>
              </a:rPr>
              <a:t>(ГОСТ 6611.1)</a:t>
            </a:r>
          </a:p>
          <a:p>
            <a:pPr marL="285750" indent="-285750">
              <a:buFontTx/>
              <a:buChar char="-"/>
            </a:pPr>
            <a:r>
              <a:rPr lang="ru-RU" sz="1400" dirty="0" smtClean="0">
                <a:latin typeface="Arial Narrow" panose="020B0606020202030204" pitchFamily="34" charset="0"/>
              </a:rPr>
              <a:t>Определение линейной усадки нити в воздушной среде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pic>
        <p:nvPicPr>
          <p:cNvPr id="10" name="Picture 2" descr="C:\Users\HP\Desktop\BMA_969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370" y="469140"/>
            <a:ext cx="2778908" cy="41686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1993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Ot5n3wD9QEhi_Emvae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sznRjaOOoS40jeWW3o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heme/theme1.xml><?xml version="1.0" encoding="utf-8"?>
<a:theme xmlns:a="http://schemas.openxmlformats.org/drawingml/2006/main" name="Default Theme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C2B3E2E2-877C-4A0B-9E6A-75E2663F6E33}" vid="{95D91212-3B27-474D-90AD-EE89DE4EAB2D}"/>
    </a:ext>
  </a:extLst>
</a:theme>
</file>

<file path=ppt/theme/theme2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3.xml><?xml version="1.0" encoding="utf-8"?>
<a:theme xmlns:a="http://schemas.openxmlformats.org/drawingml/2006/main" name="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EEE22C-7C20-404B-9A68-8AF6E11D89F5}"/>
    </a:ext>
  </a:extLst>
</a:theme>
</file>

<file path=ppt/theme/theme4.xml><?xml version="1.0" encoding="utf-8"?>
<a:theme xmlns:a="http://schemas.openxmlformats.org/drawingml/2006/main" name="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D940D6A-50B1-40A0-A849-B42380E2A9FB}"/>
    </a:ext>
  </a:extLst>
</a:theme>
</file>

<file path=ppt/theme/theme5.xml><?xml version="1.0" encoding="utf-8"?>
<a:theme xmlns:a="http://schemas.openxmlformats.org/drawingml/2006/main" name="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5269E648-71A4-4CBE-B97A-02063611A9B8}"/>
    </a:ext>
  </a:extLst>
</a:theme>
</file>

<file path=ppt/theme/theme6.xml><?xml version="1.0" encoding="utf-8"?>
<a:theme xmlns:a="http://schemas.openxmlformats.org/drawingml/2006/main" name="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AABA556F-02CD-43B5-A156-2EE10DC9F001}"/>
    </a:ext>
  </a:extLst>
</a:theme>
</file>

<file path=ppt/theme/theme7.xml><?xml version="1.0" encoding="utf-8"?>
<a:theme xmlns:a="http://schemas.openxmlformats.org/drawingml/2006/main" name="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CF50E1E-3D05-4BE1-A397-94D3F541EF7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59</TotalTime>
  <Words>143</Words>
  <Application>Microsoft Office PowerPoint</Application>
  <PresentationFormat>Экран (16:9)</PresentationFormat>
  <Paragraphs>30</Paragraphs>
  <Slides>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6" baseType="lpstr">
      <vt:lpstr>Arial</vt:lpstr>
      <vt:lpstr>Arial Narrow</vt:lpstr>
      <vt:lpstr>Symbol</vt:lpstr>
      <vt:lpstr>Wingdings</vt:lpstr>
      <vt:lpstr>Default Theme</vt:lpstr>
      <vt:lpstr>Базовые слайды</vt:lpstr>
      <vt:lpstr>Одна колонка</vt:lpstr>
      <vt:lpstr>Две колонки</vt:lpstr>
      <vt:lpstr>Три колонки</vt:lpstr>
      <vt:lpstr>Четыре колонки и более</vt:lpstr>
      <vt:lpstr>Схемы</vt:lpstr>
      <vt:lpstr>Слайд think-cell</vt:lpstr>
      <vt:lpstr>PP H1200FF – новая марка СИБУР для мелтблауна</vt:lpstr>
      <vt:lpstr>Новые направления развития – обеспечение специальных потребительских свойств </vt:lpstr>
      <vt:lpstr>ПолиЛаб – исследовательский центр СИБУР</vt:lpstr>
      <vt:lpstr>ПолиЛаб – исследовательский центр СИБУР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лиЛаб – исследовательский центр СИБУР</dc:title>
  <dc:creator>Зуев Константин Владиславович</dc:creator>
  <cp:lastModifiedBy>Зуев Константин Владиславович</cp:lastModifiedBy>
  <cp:revision>7</cp:revision>
  <dcterms:created xsi:type="dcterms:W3CDTF">2021-11-28T08:09:55Z</dcterms:created>
  <dcterms:modified xsi:type="dcterms:W3CDTF">2021-11-29T06:49:02Z</dcterms:modified>
</cp:coreProperties>
</file>